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81B79-154A-4914-85F1-15D20526EB35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78EC9A-976A-4534-80AD-BD7ABC83C7C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4551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789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1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82197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55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13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759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63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70821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FC2A8F-B0E2-AC10-B27E-316C42ED4909}"/>
              </a:ext>
            </a:extLst>
          </p:cNvPr>
          <p:cNvSpPr txBox="1">
            <a:spLocks/>
          </p:cNvSpPr>
          <p:nvPr/>
        </p:nvSpPr>
        <p:spPr>
          <a:xfrm>
            <a:off x="421481" y="1569819"/>
            <a:ext cx="10933200" cy="27699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j-cs"/>
              </a:rPr>
              <a:t>{subtitle}</a:t>
            </a:r>
          </a:p>
        </p:txBody>
      </p:sp>
      <p:sp>
        <p:nvSpPr>
          <p:cNvPr id="4" name="Freeform 33">
            <a:extLst>
              <a:ext uri="{FF2B5EF4-FFF2-40B4-BE49-F238E27FC236}">
                <a16:creationId xmlns:a16="http://schemas.microsoft.com/office/drawing/2014/main" id="{B19411DE-8E55-EDE9-960B-48C29979FF67}"/>
              </a:ext>
            </a:extLst>
          </p:cNvPr>
          <p:cNvSpPr>
            <a:spLocks/>
          </p:cNvSpPr>
          <p:nvPr/>
        </p:nvSpPr>
        <p:spPr>
          <a:xfrm>
            <a:off x="419936" y="2007932"/>
            <a:ext cx="4424704" cy="4049088"/>
          </a:xfrm>
          <a:custGeom>
            <a:avLst/>
            <a:gdLst>
              <a:gd name="connsiteX0" fmla="*/ 1296567 w 5148033"/>
              <a:gd name="connsiteY0" fmla="*/ 0 h 4958438"/>
              <a:gd name="connsiteX1" fmla="*/ 5148033 w 5148033"/>
              <a:gd name="connsiteY1" fmla="*/ 3851466 h 4958438"/>
              <a:gd name="connsiteX2" fmla="*/ 5069785 w 5148033"/>
              <a:gd name="connsiteY2" fmla="*/ 4627671 h 4958438"/>
              <a:gd name="connsiteX3" fmla="*/ 4984736 w 5148033"/>
              <a:gd name="connsiteY3" fmla="*/ 4958438 h 4958438"/>
              <a:gd name="connsiteX4" fmla="*/ 0 w 5148033"/>
              <a:gd name="connsiteY4" fmla="*/ 4958438 h 4958438"/>
              <a:gd name="connsiteX5" fmla="*/ 0 w 5148033"/>
              <a:gd name="connsiteY5" fmla="*/ 228516 h 4958438"/>
              <a:gd name="connsiteX6" fmla="*/ 151259 w 5148033"/>
              <a:gd name="connsiteY6" fmla="*/ 173154 h 4958438"/>
              <a:gd name="connsiteX7" fmla="*/ 1296567 w 5148033"/>
              <a:gd name="connsiteY7" fmla="*/ 0 h 4958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8033" h="4958438">
                <a:moveTo>
                  <a:pt x="1296567" y="0"/>
                </a:moveTo>
                <a:cubicBezTo>
                  <a:pt x="3423673" y="0"/>
                  <a:pt x="5148033" y="1724360"/>
                  <a:pt x="5148033" y="3851466"/>
                </a:cubicBezTo>
                <a:cubicBezTo>
                  <a:pt x="5148033" y="4117355"/>
                  <a:pt x="5121090" y="4376950"/>
                  <a:pt x="5069785" y="4627671"/>
                </a:cubicBezTo>
                <a:lnTo>
                  <a:pt x="4984736" y="4958438"/>
                </a:lnTo>
                <a:lnTo>
                  <a:pt x="0" y="4958438"/>
                </a:lnTo>
                <a:lnTo>
                  <a:pt x="0" y="228516"/>
                </a:lnTo>
                <a:lnTo>
                  <a:pt x="151259" y="173154"/>
                </a:lnTo>
                <a:cubicBezTo>
                  <a:pt x="513061" y="60622"/>
                  <a:pt x="897735" y="0"/>
                  <a:pt x="1296567" y="0"/>
                </a:cubicBezTo>
                <a:close/>
              </a:path>
            </a:pathLst>
          </a:custGeom>
          <a:solidFill>
            <a:schemeClr val="bg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31">
            <a:extLst>
              <a:ext uri="{FF2B5EF4-FFF2-40B4-BE49-F238E27FC236}">
                <a16:creationId xmlns:a16="http://schemas.microsoft.com/office/drawing/2014/main" id="{92E52BD4-D045-AE87-90A1-A0002F2E12B4}"/>
              </a:ext>
            </a:extLst>
          </p:cNvPr>
          <p:cNvSpPr>
            <a:spLocks/>
          </p:cNvSpPr>
          <p:nvPr/>
        </p:nvSpPr>
        <p:spPr>
          <a:xfrm>
            <a:off x="419933" y="2815779"/>
            <a:ext cx="3643982" cy="3241245"/>
          </a:xfrm>
          <a:custGeom>
            <a:avLst/>
            <a:gdLst>
              <a:gd name="connsiteX0" fmla="*/ 1304660 w 4239682"/>
              <a:gd name="connsiteY0" fmla="*/ 0 h 3969166"/>
              <a:gd name="connsiteX1" fmla="*/ 4239682 w 4239682"/>
              <a:gd name="connsiteY1" fmla="*/ 2935022 h 3969166"/>
              <a:gd name="connsiteX2" fmla="*/ 4107730 w 4239682"/>
              <a:gd name="connsiteY2" fmla="*/ 3807808 h 3969166"/>
              <a:gd name="connsiteX3" fmla="*/ 4048672 w 4239682"/>
              <a:gd name="connsiteY3" fmla="*/ 3969166 h 3969166"/>
              <a:gd name="connsiteX4" fmla="*/ 0 w 4239682"/>
              <a:gd name="connsiteY4" fmla="*/ 3969166 h 3969166"/>
              <a:gd name="connsiteX5" fmla="*/ 0 w 4239682"/>
              <a:gd name="connsiteY5" fmla="*/ 308793 h 3969166"/>
              <a:gd name="connsiteX6" fmla="*/ 162217 w 4239682"/>
              <a:gd name="connsiteY6" fmla="*/ 230649 h 3969166"/>
              <a:gd name="connsiteX7" fmla="*/ 1304660 w 4239682"/>
              <a:gd name="connsiteY7" fmla="*/ 0 h 3969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39682" h="3969166">
                <a:moveTo>
                  <a:pt x="1304660" y="0"/>
                </a:moveTo>
                <a:cubicBezTo>
                  <a:pt x="2925628" y="0"/>
                  <a:pt x="4239682" y="1314054"/>
                  <a:pt x="4239682" y="2935022"/>
                </a:cubicBezTo>
                <a:cubicBezTo>
                  <a:pt x="4239682" y="3238954"/>
                  <a:pt x="4193485" y="3532095"/>
                  <a:pt x="4107730" y="3807808"/>
                </a:cubicBezTo>
                <a:lnTo>
                  <a:pt x="4048672" y="3969166"/>
                </a:lnTo>
                <a:lnTo>
                  <a:pt x="0" y="3969166"/>
                </a:lnTo>
                <a:lnTo>
                  <a:pt x="0" y="308793"/>
                </a:lnTo>
                <a:lnTo>
                  <a:pt x="162217" y="230649"/>
                </a:lnTo>
                <a:cubicBezTo>
                  <a:pt x="513358" y="82129"/>
                  <a:pt x="899418" y="0"/>
                  <a:pt x="1304660" y="0"/>
                </a:cubicBezTo>
                <a:close/>
              </a:path>
            </a:pathLst>
          </a:cu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29">
            <a:extLst>
              <a:ext uri="{FF2B5EF4-FFF2-40B4-BE49-F238E27FC236}">
                <a16:creationId xmlns:a16="http://schemas.microsoft.com/office/drawing/2014/main" id="{38AC7526-9008-C081-E683-165B4F5BDEC3}"/>
              </a:ext>
            </a:extLst>
          </p:cNvPr>
          <p:cNvSpPr>
            <a:spLocks/>
          </p:cNvSpPr>
          <p:nvPr/>
        </p:nvSpPr>
        <p:spPr>
          <a:xfrm>
            <a:off x="419933" y="3680614"/>
            <a:ext cx="2685040" cy="2376409"/>
          </a:xfrm>
          <a:custGeom>
            <a:avLst/>
            <a:gdLst>
              <a:gd name="connsiteX0" fmla="*/ 1223740 w 3123978"/>
              <a:gd name="connsiteY0" fmla="*/ 0 h 2910106"/>
              <a:gd name="connsiteX1" fmla="*/ 3123978 w 3123978"/>
              <a:gd name="connsiteY1" fmla="*/ 1900238 h 2910106"/>
              <a:gd name="connsiteX2" fmla="*/ 2894630 w 3123978"/>
              <a:gd name="connsiteY2" fmla="*/ 2806004 h 2910106"/>
              <a:gd name="connsiteX3" fmla="*/ 2831386 w 3123978"/>
              <a:gd name="connsiteY3" fmla="*/ 2910106 h 2910106"/>
              <a:gd name="connsiteX4" fmla="*/ 0 w 3123978"/>
              <a:gd name="connsiteY4" fmla="*/ 2910106 h 2910106"/>
              <a:gd name="connsiteX5" fmla="*/ 0 w 3123978"/>
              <a:gd name="connsiteY5" fmla="*/ 447567 h 2910106"/>
              <a:gd name="connsiteX6" fmla="*/ 15012 w 3123978"/>
              <a:gd name="connsiteY6" fmla="*/ 433923 h 2910106"/>
              <a:gd name="connsiteX7" fmla="*/ 1223740 w 3123978"/>
              <a:gd name="connsiteY7" fmla="*/ 0 h 291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3978" h="2910106">
                <a:moveTo>
                  <a:pt x="1223740" y="0"/>
                </a:moveTo>
                <a:cubicBezTo>
                  <a:pt x="2273212" y="0"/>
                  <a:pt x="3123978" y="850766"/>
                  <a:pt x="3123978" y="1900238"/>
                </a:cubicBezTo>
                <a:cubicBezTo>
                  <a:pt x="3123978" y="2228198"/>
                  <a:pt x="3040896" y="2536753"/>
                  <a:pt x="2894630" y="2806004"/>
                </a:cubicBezTo>
                <a:lnTo>
                  <a:pt x="2831386" y="2910106"/>
                </a:lnTo>
                <a:lnTo>
                  <a:pt x="0" y="2910106"/>
                </a:lnTo>
                <a:lnTo>
                  <a:pt x="0" y="447567"/>
                </a:lnTo>
                <a:lnTo>
                  <a:pt x="15012" y="433923"/>
                </a:lnTo>
                <a:cubicBezTo>
                  <a:pt x="343486" y="162842"/>
                  <a:pt x="764596" y="0"/>
                  <a:pt x="1223740" y="0"/>
                </a:cubicBezTo>
                <a:close/>
              </a:path>
            </a:pathLst>
          </a:custGeom>
          <a:solidFill>
            <a:schemeClr val="accent1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77"/>
              </a:spcAft>
              <a:buClrTx/>
              <a:buSzTx/>
              <a:buFontTx/>
              <a:buNone/>
              <a:tabLst/>
              <a:defRPr/>
            </a:pPr>
            <a:endParaRPr kumimoji="0" lang="en-US" sz="105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ColumnHeader">
            <a:extLst>
              <a:ext uri="{FF2B5EF4-FFF2-40B4-BE49-F238E27FC236}">
                <a16:creationId xmlns:a16="http://schemas.microsoft.com/office/drawing/2014/main" id="{881B3492-D9A8-7DE7-6BD6-C24AE85E128D}"/>
              </a:ext>
            </a:extLst>
          </p:cNvPr>
          <p:cNvSpPr>
            <a:spLocks/>
          </p:cNvSpPr>
          <p:nvPr/>
        </p:nvSpPr>
        <p:spPr bwMode="gray">
          <a:xfrm>
            <a:off x="387352" y="4874904"/>
            <a:ext cx="2418771" cy="293072"/>
          </a:xfrm>
          <a:prstGeom prst="roundRect">
            <a:avLst>
              <a:gd name="adj" fmla="val 10597"/>
            </a:avLst>
          </a:prstGeom>
          <a:noFill/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en-US" b="1" dirty="0">
                <a:solidFill>
                  <a:prstClr val="white"/>
                </a:solidFill>
                <a:cs typeface="Henderson BCG Sans" pitchFamily="34" charset="0"/>
              </a:rPr>
              <a:t>{keyword_3}</a:t>
            </a:r>
          </a:p>
        </p:txBody>
      </p:sp>
      <p:sp>
        <p:nvSpPr>
          <p:cNvPr id="11" name="ColumnHeader">
            <a:extLst>
              <a:ext uri="{FF2B5EF4-FFF2-40B4-BE49-F238E27FC236}">
                <a16:creationId xmlns:a16="http://schemas.microsoft.com/office/drawing/2014/main" id="{1CD8EC3E-8C25-AFBA-9D85-4B6F214648D4}"/>
              </a:ext>
            </a:extLst>
          </p:cNvPr>
          <p:cNvSpPr>
            <a:spLocks/>
          </p:cNvSpPr>
          <p:nvPr/>
        </p:nvSpPr>
        <p:spPr bwMode="gray">
          <a:xfrm>
            <a:off x="387352" y="3140166"/>
            <a:ext cx="2418771" cy="293072"/>
          </a:xfrm>
          <a:prstGeom prst="roundRect">
            <a:avLst>
              <a:gd name="adj" fmla="val 10597"/>
            </a:avLst>
          </a:prstGeom>
          <a:noFill/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defRPr/>
            </a:pPr>
            <a:r>
              <a:rPr lang="en-US" b="1" dirty="0">
                <a:solidFill>
                  <a:prstClr val="white"/>
                </a:solidFill>
                <a:cs typeface="Henderson BCG Sans" pitchFamily="34" charset="0"/>
              </a:rPr>
              <a:t>{keyword_2}</a:t>
            </a:r>
          </a:p>
        </p:txBody>
      </p:sp>
      <p:sp>
        <p:nvSpPr>
          <p:cNvPr id="12" name="ColumnHeader">
            <a:extLst>
              <a:ext uri="{FF2B5EF4-FFF2-40B4-BE49-F238E27FC236}">
                <a16:creationId xmlns:a16="http://schemas.microsoft.com/office/drawing/2014/main" id="{CC3E88B5-A583-EF7D-95AA-EC49DF73496E}"/>
              </a:ext>
            </a:extLst>
          </p:cNvPr>
          <p:cNvSpPr>
            <a:spLocks/>
          </p:cNvSpPr>
          <p:nvPr/>
        </p:nvSpPr>
        <p:spPr bwMode="gray">
          <a:xfrm>
            <a:off x="387352" y="2268008"/>
            <a:ext cx="2418771" cy="293072"/>
          </a:xfrm>
          <a:prstGeom prst="roundRect">
            <a:avLst>
              <a:gd name="adj" fmla="val 10597"/>
            </a:avLst>
          </a:prstGeom>
          <a:noFill/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Henderson BCG Sans" pitchFamily="34" charset="0"/>
              </a:rPr>
              <a:t>{keyword_1}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02408E47-5226-C30F-BB35-8BCAEF45726A}"/>
              </a:ext>
            </a:extLst>
          </p:cNvPr>
          <p:cNvSpPr txBox="1">
            <a:spLocks/>
          </p:cNvSpPr>
          <p:nvPr/>
        </p:nvSpPr>
        <p:spPr>
          <a:xfrm>
            <a:off x="6053072" y="2187296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}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keyword_1_bullet_1_content}</a:t>
            </a:r>
          </a:p>
        </p:txBody>
      </p:sp>
      <p:cxnSp>
        <p:nvCxnSpPr>
          <p:cNvPr id="14" name="Straight Connector 20">
            <a:extLst>
              <a:ext uri="{FF2B5EF4-FFF2-40B4-BE49-F238E27FC236}">
                <a16:creationId xmlns:a16="http://schemas.microsoft.com/office/drawing/2014/main" id="{2AD46847-5063-CF16-B858-3C9DDDE79FE5}"/>
              </a:ext>
            </a:extLst>
          </p:cNvPr>
          <p:cNvCxnSpPr>
            <a:cxnSpLocks/>
          </p:cNvCxnSpPr>
          <p:nvPr/>
        </p:nvCxnSpPr>
        <p:spPr>
          <a:xfrm>
            <a:off x="3536950" y="3743904"/>
            <a:ext cx="2319320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5" name="Straight Connector 20">
            <a:extLst>
              <a:ext uri="{FF2B5EF4-FFF2-40B4-BE49-F238E27FC236}">
                <a16:creationId xmlns:a16="http://schemas.microsoft.com/office/drawing/2014/main" id="{946376BE-9F5C-44E2-A85A-A7B6986E5992}"/>
              </a:ext>
            </a:extLst>
          </p:cNvPr>
          <p:cNvCxnSpPr>
            <a:cxnSpLocks/>
          </p:cNvCxnSpPr>
          <p:nvPr/>
        </p:nvCxnSpPr>
        <p:spPr>
          <a:xfrm>
            <a:off x="3109735" y="2383788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6" name="Straight Connector 20">
            <a:extLst>
              <a:ext uri="{FF2B5EF4-FFF2-40B4-BE49-F238E27FC236}">
                <a16:creationId xmlns:a16="http://schemas.microsoft.com/office/drawing/2014/main" id="{33F174A1-82F3-4FFD-F87B-29BF1B3CE9B5}"/>
              </a:ext>
            </a:extLst>
          </p:cNvPr>
          <p:cNvCxnSpPr>
            <a:cxnSpLocks/>
          </p:cNvCxnSpPr>
          <p:nvPr/>
        </p:nvCxnSpPr>
        <p:spPr>
          <a:xfrm>
            <a:off x="3109735" y="5088814"/>
            <a:ext cx="2746535" cy="0"/>
          </a:xfrm>
          <a:prstGeom prst="line">
            <a:avLst/>
          </a:prstGeom>
          <a:noFill/>
          <a:ln w="6350" cap="rnd" cmpd="sng" algn="ctr">
            <a:solidFill>
              <a:schemeClr val="accent5">
                <a:lumMod val="100000"/>
              </a:schemeClr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B1A5B7F-481A-4B80-28F8-8BA5319C98DC}"/>
              </a:ext>
            </a:extLst>
          </p:cNvPr>
          <p:cNvSpPr txBox="1">
            <a:spLocks/>
          </p:cNvSpPr>
          <p:nvPr/>
        </p:nvSpPr>
        <p:spPr>
          <a:xfrm>
            <a:off x="6053072" y="3542800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2_bullet_1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2_bullet_1_content}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C2B43AF-AB6E-C663-58B1-11C84E9AD061}"/>
              </a:ext>
            </a:extLst>
          </p:cNvPr>
          <p:cNvSpPr txBox="1">
            <a:spLocks/>
          </p:cNvSpPr>
          <p:nvPr/>
        </p:nvSpPr>
        <p:spPr>
          <a:xfrm>
            <a:off x="6053072" y="4898303"/>
            <a:ext cx="5756342" cy="623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altLang="zh-CN" dirty="0">
                <a:solidFill>
                  <a:srgbClr val="1A7449"/>
                </a:solidFill>
                <a:sym typeface="Futura"/>
              </a:rPr>
              <a:t>{keyword_3_bullet_1}</a:t>
            </a:r>
          </a:p>
          <a:p>
            <a:pPr lvl="0">
              <a:spcBef>
                <a:spcPts val="300"/>
              </a:spcBef>
              <a:buClr>
                <a:srgbClr val="575757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  <a:sym typeface="Futura"/>
              </a:rPr>
              <a:t>{keyword_3_bullet_1_content}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A59835D-97EF-CED6-6F84-409C9B30891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6497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element, layer, layer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300893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92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贾轶涵</cp:lastModifiedBy>
  <cp:revision>2</cp:revision>
  <dcterms:created xsi:type="dcterms:W3CDTF">2025-09-04T02:33:43Z</dcterms:created>
  <dcterms:modified xsi:type="dcterms:W3CDTF">2025-09-11T09:09:52Z</dcterms:modified>
</cp:coreProperties>
</file>